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58"/>
  </p:notesMasterIdLst>
  <p:sldIdLst>
    <p:sldId id="508" r:id="rId5"/>
    <p:sldId id="509" r:id="rId6"/>
    <p:sldId id="518" r:id="rId7"/>
    <p:sldId id="510" r:id="rId8"/>
    <p:sldId id="519" r:id="rId9"/>
    <p:sldId id="511" r:id="rId10"/>
    <p:sldId id="520" r:id="rId11"/>
    <p:sldId id="512" r:id="rId12"/>
    <p:sldId id="521" r:id="rId13"/>
    <p:sldId id="513" r:id="rId14"/>
    <p:sldId id="522" r:id="rId15"/>
    <p:sldId id="514" r:id="rId16"/>
    <p:sldId id="523" r:id="rId17"/>
    <p:sldId id="515" r:id="rId18"/>
    <p:sldId id="524" r:id="rId19"/>
    <p:sldId id="516" r:id="rId20"/>
    <p:sldId id="525" r:id="rId21"/>
    <p:sldId id="517" r:id="rId22"/>
    <p:sldId id="526" r:id="rId23"/>
    <p:sldId id="527" r:id="rId24"/>
    <p:sldId id="528" r:id="rId25"/>
    <p:sldId id="529" r:id="rId26"/>
    <p:sldId id="530" r:id="rId27"/>
    <p:sldId id="531" r:id="rId28"/>
    <p:sldId id="532" r:id="rId29"/>
    <p:sldId id="533" r:id="rId30"/>
    <p:sldId id="534" r:id="rId31"/>
    <p:sldId id="535" r:id="rId32"/>
    <p:sldId id="536" r:id="rId33"/>
    <p:sldId id="537" r:id="rId34"/>
    <p:sldId id="538" r:id="rId35"/>
    <p:sldId id="539" r:id="rId36"/>
    <p:sldId id="540" r:id="rId37"/>
    <p:sldId id="541" r:id="rId38"/>
    <p:sldId id="542" r:id="rId39"/>
    <p:sldId id="543" r:id="rId40"/>
    <p:sldId id="544" r:id="rId41"/>
    <p:sldId id="545" r:id="rId42"/>
    <p:sldId id="546" r:id="rId43"/>
    <p:sldId id="547" r:id="rId44"/>
    <p:sldId id="548" r:id="rId45"/>
    <p:sldId id="549" r:id="rId46"/>
    <p:sldId id="550" r:id="rId47"/>
    <p:sldId id="551" r:id="rId48"/>
    <p:sldId id="552" r:id="rId49"/>
    <p:sldId id="553" r:id="rId50"/>
    <p:sldId id="554" r:id="rId51"/>
    <p:sldId id="555" r:id="rId52"/>
    <p:sldId id="556" r:id="rId53"/>
    <p:sldId id="557" r:id="rId54"/>
    <p:sldId id="558" r:id="rId55"/>
    <p:sldId id="559" r:id="rId56"/>
    <p:sldId id="560" r:id="rId5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19345B"/>
    <a:srgbClr val="384C74"/>
    <a:srgbClr val="19345C"/>
    <a:srgbClr val="321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89" autoAdjust="0"/>
    <p:restoredTop sz="86383" autoAdjust="0"/>
  </p:normalViewPr>
  <p:slideViewPr>
    <p:cSldViewPr snapToGrid="0" snapToObjects="1">
      <p:cViewPr>
        <p:scale>
          <a:sx n="87" d="100"/>
          <a:sy n="87" d="100"/>
        </p:scale>
        <p:origin x="-630" y="330"/>
      </p:cViewPr>
      <p:guideLst>
        <p:guide orient="horz"/>
        <p:guide pos="11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9" d="100"/>
          <a:sy n="69" d="100"/>
        </p:scale>
        <p:origin x="-279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63BD5B-7F76-4744-BACD-08AAB0546902}" type="datetimeFigureOut">
              <a:rPr lang="pt-BR" smtClean="0"/>
              <a:pPr/>
              <a:t>14/11/2017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DE8CE-770C-4081-B60F-7D8640DB4123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519976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549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87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957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089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926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321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083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657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9136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851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727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C7E4D-A4E8-BF44-B1B2-500D2A97A33A}" type="datetimeFigureOut">
              <a:rPr lang="en-US" smtClean="0"/>
              <a:pPr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3305AD-EBDD-564C-9E4A-0F612615091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548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PF FIXO OFF LINE</a:t>
            </a:r>
            <a:endParaRPr lang="pt-BR" sz="200" dirty="0"/>
          </a:p>
        </p:txBody>
      </p:sp>
    </p:spTree>
    <p:extLst>
      <p:ext uri="{BB962C8B-B14F-4D97-AF65-F5344CB8AC3E}">
        <p14:creationId xmlns:p14="http://schemas.microsoft.com/office/powerpoint/2010/main" val="102030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470" b="6881"/>
          <a:stretch/>
        </p:blipFill>
        <p:spPr bwMode="auto">
          <a:xfrm>
            <a:off x="251520" y="1132114"/>
            <a:ext cx="8640960" cy="4517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F MÓVEL OFF LINE DP32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20477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8893" b="6552"/>
          <a:stretch/>
        </p:blipFill>
        <p:spPr bwMode="auto">
          <a:xfrm>
            <a:off x="323528" y="1240970"/>
            <a:ext cx="8568952" cy="4528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F MÓVEL RECE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82808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982" b="6560"/>
          <a:stretch/>
        </p:blipFill>
        <p:spPr bwMode="auto">
          <a:xfrm>
            <a:off x="389249" y="1349828"/>
            <a:ext cx="8431223" cy="4397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BAD CALL ANÁLISE MÓVEL REC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818453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323" b="6604"/>
          <a:stretch/>
        </p:blipFill>
        <p:spPr bwMode="auto">
          <a:xfrm>
            <a:off x="251520" y="1338943"/>
            <a:ext cx="8618329" cy="45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OITV PF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32813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346" b="6601"/>
          <a:stretch/>
        </p:blipFill>
        <p:spPr bwMode="auto">
          <a:xfrm>
            <a:off x="251520" y="1197428"/>
            <a:ext cx="8640960" cy="4539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OITV CONTAT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42185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4" cstate="print"/>
          <a:srcRect t="9220" b="5179"/>
          <a:stretch/>
        </p:blipFill>
        <p:spPr bwMode="auto">
          <a:xfrm>
            <a:off x="251520" y="1698171"/>
            <a:ext cx="8748464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4470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8859" b="5406"/>
          <a:stretch/>
        </p:blipFill>
        <p:spPr bwMode="auto">
          <a:xfrm>
            <a:off x="323527" y="1164771"/>
            <a:ext cx="8525749" cy="4568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458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OITV RECE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2110889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331" b="6831"/>
          <a:stretch/>
        </p:blipFill>
        <p:spPr bwMode="auto">
          <a:xfrm>
            <a:off x="323528" y="1404257"/>
            <a:ext cx="8496944" cy="4452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8301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BAD CALL OI TV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03447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10073" b="6296"/>
          <a:stretch/>
        </p:blipFill>
        <p:spPr bwMode="auto">
          <a:xfrm>
            <a:off x="323528" y="1371600"/>
            <a:ext cx="8496944" cy="4441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286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F FIXO R2 ATIVO_RECE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245620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753" b="6709"/>
          <a:stretch/>
        </p:blipFill>
        <p:spPr bwMode="auto">
          <a:xfrm>
            <a:off x="323528" y="1143000"/>
            <a:ext cx="8568952" cy="44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4946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J R2 RECE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109367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8325" b="6282"/>
          <a:stretch/>
        </p:blipFill>
        <p:spPr bwMode="auto">
          <a:xfrm>
            <a:off x="323527" y="1208314"/>
            <a:ext cx="8525747" cy="4550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94475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BAD CALL RII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4160752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/>
              <a:t>PF </a:t>
            </a:r>
            <a:r>
              <a:rPr lang="en-US" sz="2000" b="1" dirty="0" err="1" smtClean="0"/>
              <a:t>FiXO</a:t>
            </a:r>
            <a:r>
              <a:rPr lang="en-US" sz="2000" b="1" dirty="0" smtClean="0"/>
              <a:t> </a:t>
            </a:r>
            <a:r>
              <a:rPr lang="en-US" sz="2000" b="1" dirty="0"/>
              <a:t>R1 Off DD17-DD18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3338242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143" b="6895"/>
          <a:stretch/>
        </p:blipFill>
        <p:spPr bwMode="auto">
          <a:xfrm>
            <a:off x="294725" y="1251857"/>
            <a:ext cx="8525747" cy="4474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504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ATENDIMENTO MONITORAMENT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588210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662" b="6706"/>
          <a:stretch/>
        </p:blipFill>
        <p:spPr bwMode="auto">
          <a:xfrm>
            <a:off x="323528" y="1349829"/>
            <a:ext cx="8496944" cy="444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781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BAD CALL MONITORAMENTO LOJAS PRÓPRIAS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432295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629" b="6619"/>
          <a:stretch/>
        </p:blipFill>
        <p:spPr bwMode="auto">
          <a:xfrm>
            <a:off x="251520" y="1208314"/>
            <a:ext cx="8567936" cy="4484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3718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EMAIL MONITORAMENTO CREDITO</a:t>
            </a:r>
          </a:p>
          <a:p>
            <a:pPr algn="ctr">
              <a:defRPr/>
            </a:pPr>
            <a:r>
              <a:rPr lang="pt-BR" sz="200" b="1" dirty="0" smtClean="0"/>
              <a:t>EEMAIL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2958035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299" b="7050"/>
          <a:stretch/>
        </p:blipFill>
        <p:spPr bwMode="auto">
          <a:xfrm>
            <a:off x="251520" y="1338943"/>
            <a:ext cx="8640960" cy="4517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460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TELEVENDAS</a:t>
            </a:r>
          </a:p>
          <a:p>
            <a:pPr algn="ctr">
              <a:defRPr/>
            </a:pPr>
            <a:r>
              <a:rPr lang="pt-BR" sz="200" b="1" dirty="0" smtClean="0"/>
              <a:t>EEMAIL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383471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023" b="7020"/>
          <a:stretch/>
        </p:blipFill>
        <p:spPr bwMode="auto">
          <a:xfrm>
            <a:off x="251520" y="1328058"/>
            <a:ext cx="8712968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1228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/>
              <a:t>E-Mail </a:t>
            </a:r>
            <a:r>
              <a:rPr lang="pt-BR" sz="2000" b="1" dirty="0" err="1"/>
              <a:t>FX_MV_OiTV</a:t>
            </a:r>
            <a:r>
              <a:rPr lang="pt-BR" sz="2000" b="1" dirty="0"/>
              <a:t> </a:t>
            </a:r>
            <a:r>
              <a:rPr lang="pt-BR" sz="2000" b="1" dirty="0" smtClean="0"/>
              <a:t>EXCEÇÃO</a:t>
            </a:r>
            <a:r>
              <a:rPr lang="pt-BR" sz="200" b="1" dirty="0" smtClean="0"/>
              <a:t>EEMAIL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336504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170" b="6857"/>
          <a:stretch/>
        </p:blipFill>
        <p:spPr bwMode="auto">
          <a:xfrm>
            <a:off x="251520" y="1262742"/>
            <a:ext cx="8690452" cy="456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749" b="6198"/>
          <a:stretch/>
        </p:blipFill>
        <p:spPr bwMode="auto">
          <a:xfrm>
            <a:off x="251520" y="1219200"/>
            <a:ext cx="8640960" cy="4539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7818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MULTIPRODUTOS OI TOTAL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48442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223" b="6637"/>
          <a:stretch/>
        </p:blipFill>
        <p:spPr bwMode="auto">
          <a:xfrm>
            <a:off x="179511" y="1197429"/>
            <a:ext cx="8756173" cy="460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137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TRATAMENTO ANATEL RI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67827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8966" b="6274"/>
          <a:stretch/>
        </p:blipFill>
        <p:spPr bwMode="auto">
          <a:xfrm>
            <a:off x="323528" y="1164771"/>
            <a:ext cx="8424936" cy="4463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804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pt-BR" sz="2000" b="1" dirty="0" smtClean="0"/>
              <a:t>TRATAMENTO ANATEL RII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3119769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425" b="7036"/>
          <a:stretch/>
        </p:blipFill>
        <p:spPr bwMode="auto">
          <a:xfrm>
            <a:off x="394648" y="1197429"/>
            <a:ext cx="8568952" cy="447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76062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912" y="1578429"/>
            <a:ext cx="8594055" cy="4831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MOVEL EMPRESARIAL / CORPORATIVO</a:t>
            </a:r>
          </a:p>
          <a:p>
            <a:pPr algn="ctr">
              <a:defRPr/>
            </a:pPr>
            <a:r>
              <a:rPr lang="pt-BR" sz="2000" b="1" dirty="0" smtClean="0"/>
              <a:t>PORTAL EMPRESARIAL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6590354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2" y="1426028"/>
            <a:ext cx="8711522" cy="489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MOVEL EMPRESARIAL / CORPORATIVO</a:t>
            </a:r>
          </a:p>
          <a:p>
            <a:pPr algn="ctr">
              <a:defRPr/>
            </a:pPr>
            <a:r>
              <a:rPr lang="pt-BR" sz="2000" b="1" dirty="0" smtClean="0"/>
              <a:t>PORTAL EMPRESARIAL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35083734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EMPRESARIAL / CORPORATIVO</a:t>
            </a:r>
          </a:p>
          <a:p>
            <a:pPr algn="ctr">
              <a:defRPr/>
            </a:pPr>
            <a:r>
              <a:rPr lang="pt-BR" sz="2000" b="1" dirty="0" smtClean="0"/>
              <a:t>PORTAL EMPRESARIAL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70" y="1589314"/>
            <a:ext cx="8497245" cy="4777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6845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F FIXO RI - RECEPTIVO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2470198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MOVEL EMPRESARIAL / CORPORATIVO</a:t>
            </a:r>
          </a:p>
          <a:p>
            <a:pPr algn="ctr">
              <a:defRPr/>
            </a:pPr>
            <a:r>
              <a:rPr lang="pt-BR" sz="2000" b="1" dirty="0" smtClean="0"/>
              <a:t>PORTAL EMPRESARIAL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6" y="1360715"/>
            <a:ext cx="8690863" cy="488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3299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FIXA R1 E R2 / VADA / IPTV / TV EMPRESARIAL / </a:t>
            </a:r>
          </a:p>
          <a:p>
            <a:pPr algn="ctr">
              <a:defRPr/>
            </a:pPr>
            <a:r>
              <a:rPr lang="pt-BR" sz="2000" b="1" dirty="0" smtClean="0"/>
              <a:t>PORTAL DE COBRANÇA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56" y="1737716"/>
            <a:ext cx="7924800" cy="445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082442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FIXA R1 E R2 / VADA / IPTV / TV EMPRESARIAL / </a:t>
            </a:r>
          </a:p>
          <a:p>
            <a:pPr algn="ctr">
              <a:defRPr/>
            </a:pPr>
            <a:r>
              <a:rPr lang="pt-BR" sz="2000" b="1" dirty="0" smtClean="0"/>
              <a:t>PORTAL DE COBRANÇA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85" y="1404258"/>
            <a:ext cx="8458522" cy="4755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0491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3402" y="609601"/>
            <a:ext cx="78812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FRONT END – FIXA R1 E R2 / VADA / IPTV / TV EMPRESARIAL / </a:t>
            </a:r>
          </a:p>
          <a:p>
            <a:pPr algn="ctr">
              <a:defRPr/>
            </a:pPr>
            <a:r>
              <a:rPr lang="pt-BR" sz="2000" b="1" dirty="0" smtClean="0"/>
              <a:t>PORTAL DE COBRANÇA</a:t>
            </a:r>
            <a:endParaRPr lang="pt-BR" sz="2000" b="1" dirty="0" smtClean="0"/>
          </a:p>
          <a:p>
            <a:pPr algn="ctr">
              <a:defRPr/>
            </a:pPr>
            <a:endParaRPr lang="pt-BR" sz="200" b="1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43" y="1447800"/>
            <a:ext cx="8652140" cy="486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747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/>
          <a:srcRect t="9877" b="6858"/>
          <a:stretch/>
        </p:blipFill>
        <p:spPr bwMode="auto">
          <a:xfrm>
            <a:off x="323528" y="1295400"/>
            <a:ext cx="8597145" cy="44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BAD CALL PF FIXO RI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1137287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177" y="5848"/>
            <a:ext cx="1679843" cy="78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t03-02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368" b="84909"/>
          <a:stretch/>
        </p:blipFill>
        <p:spPr>
          <a:xfrm>
            <a:off x="0" y="-1"/>
            <a:ext cx="789296" cy="1034955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4" cstate="print"/>
          <a:srcRect t="9395" b="7052"/>
          <a:stretch/>
        </p:blipFill>
        <p:spPr bwMode="auto">
          <a:xfrm>
            <a:off x="323528" y="1121229"/>
            <a:ext cx="8525748" cy="4452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66" t="22667" r="18666" b="15733"/>
          <a:stretch/>
        </p:blipFill>
        <p:spPr bwMode="auto">
          <a:xfrm>
            <a:off x="0" y="8711"/>
            <a:ext cx="9144000" cy="6816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71319" y="2495347"/>
            <a:ext cx="566382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2000" b="1" dirty="0" smtClean="0"/>
              <a:t>CONSOLIDADO FRONT END – CRÉDITO</a:t>
            </a:r>
          </a:p>
          <a:p>
            <a:pPr algn="ctr">
              <a:defRPr/>
            </a:pPr>
            <a:r>
              <a:rPr lang="en-US" sz="2000" b="1" dirty="0" smtClean="0"/>
              <a:t>PF MÓVEL OFF LINE</a:t>
            </a:r>
            <a:endParaRPr lang="pt-BR" sz="200" b="1" dirty="0"/>
          </a:p>
        </p:txBody>
      </p:sp>
    </p:spTree>
    <p:extLst>
      <p:ext uri="{BB962C8B-B14F-4D97-AF65-F5344CB8AC3E}">
        <p14:creationId xmlns:p14="http://schemas.microsoft.com/office/powerpoint/2010/main" val="268233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55m4wGPpUkyhvw8MFLC.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3B5D3D784E3BA449570ADAAF37FA8B2" ma:contentTypeVersion="0" ma:contentTypeDescription="Crie um novo documento." ma:contentTypeScope="" ma:versionID="704348065d9a17421fec285126e8bba4">
  <xsd:schema xmlns:xsd="http://www.w3.org/2001/XMLSchema" xmlns:p="http://schemas.microsoft.com/office/2006/metadata/properties" targetNamespace="http://schemas.microsoft.com/office/2006/metadata/properties" ma:root="true" ma:fieldsID="834597303d62dd03ddcd59f56325a21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31668C-1CCC-4110-8EAA-9FB7E75840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D9614899-89CF-4A8D-82D9-67C7E8F59788}">
  <ds:schemaRefs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9DA8258-30A5-4A29-86F4-5E88B85D6B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462</TotalTime>
  <Words>285</Words>
  <Application>Microsoft Office PowerPoint</Application>
  <PresentationFormat>Apresentação na tela (4:3)</PresentationFormat>
  <Paragraphs>62</Paragraphs>
  <Slides>53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53</vt:i4>
      </vt:variant>
    </vt:vector>
  </HeadingPairs>
  <TitlesOfParts>
    <vt:vector size="54" baseType="lpstr"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Mac de Plinio</dc:creator>
  <cp:lastModifiedBy>Usuário do Windows</cp:lastModifiedBy>
  <cp:revision>2844</cp:revision>
  <dcterms:created xsi:type="dcterms:W3CDTF">2015-08-23T23:08:42Z</dcterms:created>
  <dcterms:modified xsi:type="dcterms:W3CDTF">2017-11-14T14:3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B5D3D784E3BA449570ADAAF37FA8B2</vt:lpwstr>
  </property>
</Properties>
</file>